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6" r:id="rId1"/>
  </p:sldMasterIdLst>
  <p:notesMasterIdLst>
    <p:notesMasterId r:id="rId3"/>
  </p:notesMasterIdLst>
  <p:sldIdLst>
    <p:sldId id="258" r:id="rId2"/>
  </p:sldIdLst>
  <p:sldSz cx="30275213" cy="4276725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6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1" autoAdjust="0"/>
  </p:normalViewPr>
  <p:slideViewPr>
    <p:cSldViewPr snapToGrid="0">
      <p:cViewPr varScale="1">
        <p:scale>
          <a:sx n="24" d="100"/>
          <a:sy n="24" d="100"/>
        </p:scale>
        <p:origin x="4122" y="8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8" d="100"/>
        <a:sy n="48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D26DE4-EEFD-45E5-8B26-3E7CDCFCE5D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6800" y="1143000"/>
            <a:ext cx="2184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46AF08-4C65-42DE-96B2-31928DD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58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3CA64-36FA-284B-A980-4D7AAD3258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84402" y="6999180"/>
            <a:ext cx="22706410" cy="14889339"/>
          </a:xfrm>
        </p:spPr>
        <p:txBody>
          <a:bodyPr anchor="b"/>
          <a:lstStyle>
            <a:lvl1pPr algn="ctr">
              <a:defRPr sz="148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67830-F50B-E348-93C8-D322FFD21D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84402" y="22462709"/>
            <a:ext cx="22706410" cy="10325516"/>
          </a:xfrm>
        </p:spPr>
        <p:txBody>
          <a:bodyPr/>
          <a:lstStyle>
            <a:lvl1pPr marL="0" indent="0" algn="ctr">
              <a:buNone/>
              <a:defRPr sz="5960"/>
            </a:lvl1pPr>
            <a:lvl2pPr marL="1135319" indent="0" algn="ctr">
              <a:buNone/>
              <a:defRPr sz="4966"/>
            </a:lvl2pPr>
            <a:lvl3pPr marL="2270638" indent="0" algn="ctr">
              <a:buNone/>
              <a:defRPr sz="4470"/>
            </a:lvl3pPr>
            <a:lvl4pPr marL="3405957" indent="0" algn="ctr">
              <a:buNone/>
              <a:defRPr sz="3973"/>
            </a:lvl4pPr>
            <a:lvl5pPr marL="4541276" indent="0" algn="ctr">
              <a:buNone/>
              <a:defRPr sz="3973"/>
            </a:lvl5pPr>
            <a:lvl6pPr marL="5676595" indent="0" algn="ctr">
              <a:buNone/>
              <a:defRPr sz="3973"/>
            </a:lvl6pPr>
            <a:lvl7pPr marL="6811914" indent="0" algn="ctr">
              <a:buNone/>
              <a:defRPr sz="3973"/>
            </a:lvl7pPr>
            <a:lvl8pPr marL="7947233" indent="0" algn="ctr">
              <a:buNone/>
              <a:defRPr sz="3973"/>
            </a:lvl8pPr>
            <a:lvl9pPr marL="9082552" indent="0" algn="ctr">
              <a:buNone/>
              <a:defRPr sz="397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4B6353-5A46-D04A-ACA2-517B9148F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32D215-8296-2949-9086-D2EAF20E3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A6F8B-021A-694A-B3A7-F067C82E2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8047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3D426-31FA-D045-92DE-9DB595EB1E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717DE7-76B5-BB48-8641-D00E635054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E7EA4A-B767-6B40-9933-F7D008996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FFD68-E2DE-D149-B2B0-9DAECBA120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AAEF13-1B04-6B4B-9D4D-26F83F555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3976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5617A9-927C-2A4B-8988-C25D333D63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21665699" y="2276960"/>
            <a:ext cx="6528093" cy="3624326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EC5534-1859-4647-8B45-C2789639DB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2081421" y="2276960"/>
            <a:ext cx="19205838" cy="3624326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0E40C5-A8F3-0244-86A1-CBEB8F841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66508-18CA-C847-91B3-F99A3ABEC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0FDD5E-0298-9C4E-BAB4-F04DBFDC5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7417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85DF-2C0B-9847-9201-C2C8573B0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F8DA3B-1685-E541-A3AE-A6A1F712A0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B37E18-8D35-604D-8949-1D49E703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427565-29D7-6A4A-A926-CB94A368A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D7591F-8772-D44B-B8D0-F58219D7D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36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FB1795-6AF7-BB43-AEB0-DDE2DDE47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5653" y="10662119"/>
            <a:ext cx="26112371" cy="17789985"/>
          </a:xfrm>
        </p:spPr>
        <p:txBody>
          <a:bodyPr anchor="b"/>
          <a:lstStyle>
            <a:lvl1pPr>
              <a:defRPr sz="148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C0461-A5A9-934D-99B1-D6157D3704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65653" y="28620404"/>
            <a:ext cx="26112371" cy="9355333"/>
          </a:xfrm>
        </p:spPr>
        <p:txBody>
          <a:bodyPr/>
          <a:lstStyle>
            <a:lvl1pPr marL="0" indent="0">
              <a:buNone/>
              <a:defRPr sz="5960">
                <a:solidFill>
                  <a:schemeClr val="tx1">
                    <a:tint val="75000"/>
                  </a:schemeClr>
                </a:solidFill>
              </a:defRPr>
            </a:lvl1pPr>
            <a:lvl2pPr marL="1135319" indent="0">
              <a:buNone/>
              <a:defRPr sz="4966">
                <a:solidFill>
                  <a:schemeClr val="tx1">
                    <a:tint val="75000"/>
                  </a:schemeClr>
                </a:solidFill>
              </a:defRPr>
            </a:lvl2pPr>
            <a:lvl3pPr marL="2270638" indent="0">
              <a:buNone/>
              <a:defRPr sz="4470">
                <a:solidFill>
                  <a:schemeClr val="tx1">
                    <a:tint val="75000"/>
                  </a:schemeClr>
                </a:solidFill>
              </a:defRPr>
            </a:lvl3pPr>
            <a:lvl4pPr marL="3405957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4pPr>
            <a:lvl5pPr marL="4541276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5pPr>
            <a:lvl6pPr marL="5676595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6pPr>
            <a:lvl7pPr marL="6811914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7pPr>
            <a:lvl8pPr marL="7947233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8pPr>
            <a:lvl9pPr marL="9082552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D0F175-616E-6D48-8B0C-D72B5537D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869E6C-8483-AE4A-9E80-153426682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6700D-0C36-DE45-9136-EA666B439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995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3A7A2-E04D-8348-8A43-10F2D1028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C208F-5813-364F-8F9B-4CA7208D77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81421" y="11384800"/>
            <a:ext cx="12866966" cy="271354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A3765E-D6C0-1D47-AA60-9925DD8B7E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5326826" y="11384800"/>
            <a:ext cx="12866966" cy="271354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C95097-4025-3646-98D7-B2576DCCD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8B8EFA-864C-5246-9E5A-1EC444A3B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EEEC00-1C8A-A04A-8C01-82447867A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10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8D8EB-5253-834F-AECE-4D3CE6439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364" y="2276963"/>
            <a:ext cx="26112371" cy="826635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60B71-E766-2749-805A-FAA93C1131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85365" y="10483919"/>
            <a:ext cx="12807833" cy="5138007"/>
          </a:xfrm>
        </p:spPr>
        <p:txBody>
          <a:bodyPr anchor="b"/>
          <a:lstStyle>
            <a:lvl1pPr marL="0" indent="0">
              <a:buNone/>
              <a:defRPr sz="5960" b="1"/>
            </a:lvl1pPr>
            <a:lvl2pPr marL="1135319" indent="0">
              <a:buNone/>
              <a:defRPr sz="4966" b="1"/>
            </a:lvl2pPr>
            <a:lvl3pPr marL="2270638" indent="0">
              <a:buNone/>
              <a:defRPr sz="4470" b="1"/>
            </a:lvl3pPr>
            <a:lvl4pPr marL="3405957" indent="0">
              <a:buNone/>
              <a:defRPr sz="3973" b="1"/>
            </a:lvl4pPr>
            <a:lvl5pPr marL="4541276" indent="0">
              <a:buNone/>
              <a:defRPr sz="3973" b="1"/>
            </a:lvl5pPr>
            <a:lvl6pPr marL="5676595" indent="0">
              <a:buNone/>
              <a:defRPr sz="3973" b="1"/>
            </a:lvl6pPr>
            <a:lvl7pPr marL="6811914" indent="0">
              <a:buNone/>
              <a:defRPr sz="3973" b="1"/>
            </a:lvl7pPr>
            <a:lvl8pPr marL="7947233" indent="0">
              <a:buNone/>
              <a:defRPr sz="3973" b="1"/>
            </a:lvl8pPr>
            <a:lvl9pPr marL="9082552" indent="0">
              <a:buNone/>
              <a:defRPr sz="397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A9FDE9-D243-484E-A10C-CA4FE4BE23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085365" y="15621926"/>
            <a:ext cx="12807833" cy="22977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E5AD17-08F8-A64A-81E4-B110EDA3AD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5326827" y="10483919"/>
            <a:ext cx="12870909" cy="5138007"/>
          </a:xfrm>
        </p:spPr>
        <p:txBody>
          <a:bodyPr anchor="b"/>
          <a:lstStyle>
            <a:lvl1pPr marL="0" indent="0">
              <a:buNone/>
              <a:defRPr sz="5960" b="1"/>
            </a:lvl1pPr>
            <a:lvl2pPr marL="1135319" indent="0">
              <a:buNone/>
              <a:defRPr sz="4966" b="1"/>
            </a:lvl2pPr>
            <a:lvl3pPr marL="2270638" indent="0">
              <a:buNone/>
              <a:defRPr sz="4470" b="1"/>
            </a:lvl3pPr>
            <a:lvl4pPr marL="3405957" indent="0">
              <a:buNone/>
              <a:defRPr sz="3973" b="1"/>
            </a:lvl4pPr>
            <a:lvl5pPr marL="4541276" indent="0">
              <a:buNone/>
              <a:defRPr sz="3973" b="1"/>
            </a:lvl5pPr>
            <a:lvl6pPr marL="5676595" indent="0">
              <a:buNone/>
              <a:defRPr sz="3973" b="1"/>
            </a:lvl6pPr>
            <a:lvl7pPr marL="6811914" indent="0">
              <a:buNone/>
              <a:defRPr sz="3973" b="1"/>
            </a:lvl7pPr>
            <a:lvl8pPr marL="7947233" indent="0">
              <a:buNone/>
              <a:defRPr sz="3973" b="1"/>
            </a:lvl8pPr>
            <a:lvl9pPr marL="9082552" indent="0">
              <a:buNone/>
              <a:defRPr sz="397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717A15-96F6-1044-9E98-8C03C405DB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5326827" y="15621926"/>
            <a:ext cx="12870909" cy="22977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1845C9-6D10-C74E-8A67-AD10123DC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4DCAFA-4100-3642-BA00-BBF5316D2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D17A99-7060-3945-A363-5C79A08F0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876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03AE8-C8BA-864B-B9DF-10FD25BCC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B6E9DE-86E5-8A44-8E12-325DEE9BD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F69A28-F7B7-014B-B9D2-BDBF2B555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5E41AC-BF95-494B-B942-133E210D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094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5FDFCD-2007-7F49-9DCB-29F278743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9E02DD-BF20-CD4A-81DD-3325615B5A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4E0FFF-87B5-E14C-8A86-D8E795AC5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Copyright" hidden="1">
            <a:extLst>
              <a:ext uri="{FF2B5EF4-FFF2-40B4-BE49-F238E27FC236}">
                <a16:creationId xmlns:a16="http://schemas.microsoft.com/office/drawing/2014/main" id="{C89922A1-3F22-4820-8031-2CDA66A21011}"/>
              </a:ext>
            </a:extLst>
          </p:cNvPr>
          <p:cNvSpPr txBox="1"/>
          <p:nvPr userDrawn="1"/>
        </p:nvSpPr>
        <p:spPr>
          <a:xfrm rot="16200000">
            <a:off x="13924233" y="24643075"/>
            <a:ext cx="32016039" cy="24070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490"/>
              </a:spcAft>
            </a:pPr>
            <a:r>
              <a:rPr lang="en-US" sz="1738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7E1D3D2-B818-4AD8-B4F0-767336D9765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 rot="16200000">
            <a:off x="21078415" y="32097648"/>
            <a:ext cx="17106900" cy="24070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1490"/>
              </a:spcAft>
            </a:pPr>
            <a:r>
              <a:rPr lang="en-US" sz="1738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84551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DBC8D-CBFC-2044-AB8F-9A88E439D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366" y="2851150"/>
            <a:ext cx="9764543" cy="9979025"/>
          </a:xfrm>
        </p:spPr>
        <p:txBody>
          <a:bodyPr anchor="b"/>
          <a:lstStyle>
            <a:lvl1pPr>
              <a:defRPr sz="794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B62D3C-38C9-014E-ADB8-AB4C28D5EA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70909" y="6157695"/>
            <a:ext cx="15326827" cy="30392467"/>
          </a:xfrm>
        </p:spPr>
        <p:txBody>
          <a:bodyPr/>
          <a:lstStyle>
            <a:lvl1pPr>
              <a:defRPr sz="7946"/>
            </a:lvl1pPr>
            <a:lvl2pPr>
              <a:defRPr sz="6953"/>
            </a:lvl2pPr>
            <a:lvl3pPr>
              <a:defRPr sz="5960"/>
            </a:lvl3pPr>
            <a:lvl4pPr>
              <a:defRPr sz="4966"/>
            </a:lvl4pPr>
            <a:lvl5pPr>
              <a:defRPr sz="4966"/>
            </a:lvl5pPr>
            <a:lvl6pPr>
              <a:defRPr sz="4966"/>
            </a:lvl6pPr>
            <a:lvl7pPr>
              <a:defRPr sz="4966"/>
            </a:lvl7pPr>
            <a:lvl8pPr>
              <a:defRPr sz="4966"/>
            </a:lvl8pPr>
            <a:lvl9pPr>
              <a:defRPr sz="49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0AA646-A074-794F-A759-9C4C2C8179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85366" y="12830175"/>
            <a:ext cx="9764543" cy="23769486"/>
          </a:xfrm>
        </p:spPr>
        <p:txBody>
          <a:bodyPr/>
          <a:lstStyle>
            <a:lvl1pPr marL="0" indent="0">
              <a:buNone/>
              <a:defRPr sz="3973"/>
            </a:lvl1pPr>
            <a:lvl2pPr marL="1135319" indent="0">
              <a:buNone/>
              <a:defRPr sz="3476"/>
            </a:lvl2pPr>
            <a:lvl3pPr marL="2270638" indent="0">
              <a:buNone/>
              <a:defRPr sz="2980"/>
            </a:lvl3pPr>
            <a:lvl4pPr marL="3405957" indent="0">
              <a:buNone/>
              <a:defRPr sz="2483"/>
            </a:lvl4pPr>
            <a:lvl5pPr marL="4541276" indent="0">
              <a:buNone/>
              <a:defRPr sz="2483"/>
            </a:lvl5pPr>
            <a:lvl6pPr marL="5676595" indent="0">
              <a:buNone/>
              <a:defRPr sz="2483"/>
            </a:lvl6pPr>
            <a:lvl7pPr marL="6811914" indent="0">
              <a:buNone/>
              <a:defRPr sz="2483"/>
            </a:lvl7pPr>
            <a:lvl8pPr marL="7947233" indent="0">
              <a:buNone/>
              <a:defRPr sz="2483"/>
            </a:lvl8pPr>
            <a:lvl9pPr marL="9082552" indent="0">
              <a:buNone/>
              <a:defRPr sz="248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F24BC1-7684-3943-8C83-E19501631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9769E1-C748-2B4E-BA8E-531E830F4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58E592-E2E5-5248-BAEC-5F092268E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9591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5CB2B-4B9E-C046-AAEF-5F0B45CB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366" y="2851150"/>
            <a:ext cx="9764543" cy="9979025"/>
          </a:xfrm>
        </p:spPr>
        <p:txBody>
          <a:bodyPr anchor="b"/>
          <a:lstStyle>
            <a:lvl1pPr>
              <a:defRPr sz="794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A271C3-4611-5048-B3EF-D75BACF90A8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2870909" y="6157695"/>
            <a:ext cx="15326827" cy="30392467"/>
          </a:xfrm>
        </p:spPr>
        <p:txBody>
          <a:bodyPr/>
          <a:lstStyle>
            <a:lvl1pPr marL="0" indent="0">
              <a:buNone/>
              <a:defRPr sz="7946"/>
            </a:lvl1pPr>
            <a:lvl2pPr marL="1135319" indent="0">
              <a:buNone/>
              <a:defRPr sz="6953"/>
            </a:lvl2pPr>
            <a:lvl3pPr marL="2270638" indent="0">
              <a:buNone/>
              <a:defRPr sz="5960"/>
            </a:lvl3pPr>
            <a:lvl4pPr marL="3405957" indent="0">
              <a:buNone/>
              <a:defRPr sz="4966"/>
            </a:lvl4pPr>
            <a:lvl5pPr marL="4541276" indent="0">
              <a:buNone/>
              <a:defRPr sz="4966"/>
            </a:lvl5pPr>
            <a:lvl6pPr marL="5676595" indent="0">
              <a:buNone/>
              <a:defRPr sz="4966"/>
            </a:lvl6pPr>
            <a:lvl7pPr marL="6811914" indent="0">
              <a:buNone/>
              <a:defRPr sz="4966"/>
            </a:lvl7pPr>
            <a:lvl8pPr marL="7947233" indent="0">
              <a:buNone/>
              <a:defRPr sz="4966"/>
            </a:lvl8pPr>
            <a:lvl9pPr marL="9082552" indent="0">
              <a:buNone/>
              <a:defRPr sz="4966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0C4D7C-8C58-674E-8E1F-86E0C238FE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85366" y="12830175"/>
            <a:ext cx="9764543" cy="23769486"/>
          </a:xfrm>
        </p:spPr>
        <p:txBody>
          <a:bodyPr/>
          <a:lstStyle>
            <a:lvl1pPr marL="0" indent="0">
              <a:buNone/>
              <a:defRPr sz="3973"/>
            </a:lvl1pPr>
            <a:lvl2pPr marL="1135319" indent="0">
              <a:buNone/>
              <a:defRPr sz="3476"/>
            </a:lvl2pPr>
            <a:lvl3pPr marL="2270638" indent="0">
              <a:buNone/>
              <a:defRPr sz="2980"/>
            </a:lvl3pPr>
            <a:lvl4pPr marL="3405957" indent="0">
              <a:buNone/>
              <a:defRPr sz="2483"/>
            </a:lvl4pPr>
            <a:lvl5pPr marL="4541276" indent="0">
              <a:buNone/>
              <a:defRPr sz="2483"/>
            </a:lvl5pPr>
            <a:lvl6pPr marL="5676595" indent="0">
              <a:buNone/>
              <a:defRPr sz="2483"/>
            </a:lvl6pPr>
            <a:lvl7pPr marL="6811914" indent="0">
              <a:buNone/>
              <a:defRPr sz="2483"/>
            </a:lvl7pPr>
            <a:lvl8pPr marL="7947233" indent="0">
              <a:buNone/>
              <a:defRPr sz="2483"/>
            </a:lvl8pPr>
            <a:lvl9pPr marL="9082552" indent="0">
              <a:buNone/>
              <a:defRPr sz="248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34C6E-36FA-EB4D-BDD6-D7EBF54D6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602E8A-1F2F-BF49-890F-EA2C61C63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6A7EDA-F54E-2946-8BD7-DB3EC1FEA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6868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4C7A16-FDD1-6445-9BD1-70CF14CAE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1421" y="2276963"/>
            <a:ext cx="26112371" cy="82663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4AAAF-1A24-9C47-B766-1E652E02A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81421" y="11384800"/>
            <a:ext cx="26112371" cy="271354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3CCA01-55AD-9644-B024-DB8AE33F38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081421" y="39638908"/>
            <a:ext cx="6811923" cy="2276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A9347B-AAC8-4E27-9B0F-20942DE7B6B5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66346D-BDB0-DA4A-A987-A61E08C67E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28665" y="39638908"/>
            <a:ext cx="10217884" cy="2276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4DAE5B-5631-DE4E-8ABB-8A9228225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381869" y="39638908"/>
            <a:ext cx="6811923" cy="2276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DF90A2-1D93-B646-9A77-C9EC2A79B7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4" r:id="rId8"/>
    <p:sldLayoutId id="2147485025" r:id="rId9"/>
    <p:sldLayoutId id="2147485026" r:id="rId10"/>
    <p:sldLayoutId id="2147485027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2270638" rtl="0" eaLnBrk="1" latinLnBrk="0" hangingPunct="1">
        <a:lnSpc>
          <a:spcPct val="90000"/>
        </a:lnSpc>
        <a:spcBef>
          <a:spcPct val="0"/>
        </a:spcBef>
        <a:buNone/>
        <a:defRPr sz="1092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67660" indent="-567660" algn="l" defTabSz="2270638" rtl="0" eaLnBrk="1" latinLnBrk="0" hangingPunct="1">
        <a:lnSpc>
          <a:spcPct val="90000"/>
        </a:lnSpc>
        <a:spcBef>
          <a:spcPts val="2483"/>
        </a:spcBef>
        <a:buFont typeface="Arial" panose="020B0604020202020204" pitchFamily="34" charset="0"/>
        <a:buChar char="•"/>
        <a:defRPr sz="6953" kern="1200">
          <a:solidFill>
            <a:schemeClr val="tx1"/>
          </a:solidFill>
          <a:latin typeface="+mn-lt"/>
          <a:ea typeface="+mn-ea"/>
          <a:cs typeface="+mn-cs"/>
        </a:defRPr>
      </a:lvl1pPr>
      <a:lvl2pPr marL="1702979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2838298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966" kern="1200">
          <a:solidFill>
            <a:schemeClr val="tx1"/>
          </a:solidFill>
          <a:latin typeface="+mn-lt"/>
          <a:ea typeface="+mn-ea"/>
          <a:cs typeface="+mn-cs"/>
        </a:defRPr>
      </a:lvl3pPr>
      <a:lvl4pPr marL="3973617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4pPr>
      <a:lvl5pPr marL="5108936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5pPr>
      <a:lvl6pPr marL="6244255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6pPr>
      <a:lvl7pPr marL="7379574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7pPr>
      <a:lvl8pPr marL="8514893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8pPr>
      <a:lvl9pPr marL="9650212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1pPr>
      <a:lvl2pPr marL="1135319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2pPr>
      <a:lvl3pPr marL="2270638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3pPr>
      <a:lvl4pPr marL="3405957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4pPr>
      <a:lvl5pPr marL="4541276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5pPr>
      <a:lvl6pPr marL="5676595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6pPr>
      <a:lvl7pPr marL="6811914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7pPr>
      <a:lvl8pPr marL="7947233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8pPr>
      <a:lvl9pPr marL="9082552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microsoft.com/office/2007/relationships/hdphoto" Target="../media/hdphoto2.wdp"/><Relationship Id="rId4" Type="http://schemas.openxmlformats.org/officeDocument/2006/relationships/image" Target="../media/image3.png"/><Relationship Id="rId9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35F9519-3857-F1E6-8F40-27D4D58E0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89E8F422-C29F-D9DF-4C48-9F9A34112113}"/>
              </a:ext>
            </a:extLst>
          </p:cNvPr>
          <p:cNvGrpSpPr/>
          <p:nvPr/>
        </p:nvGrpSpPr>
        <p:grpSpPr>
          <a:xfrm>
            <a:off x="0" y="0"/>
            <a:ext cx="30275213" cy="42876123"/>
            <a:chOff x="0" y="-54437"/>
            <a:chExt cx="30275213" cy="4287612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B7F7F0F-1A59-B786-6686-21861C9929AC}"/>
                </a:ext>
              </a:extLst>
            </p:cNvPr>
            <p:cNvGrpSpPr/>
            <p:nvPr/>
          </p:nvGrpSpPr>
          <p:grpSpPr>
            <a:xfrm>
              <a:off x="0" y="-54437"/>
              <a:ext cx="30275213" cy="42876123"/>
              <a:chOff x="0" y="0"/>
              <a:chExt cx="30275213" cy="42876123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CA92608D-909A-267C-7CD4-418FCA2072FD}"/>
                  </a:ext>
                </a:extLst>
              </p:cNvPr>
              <p:cNvGrpSpPr/>
              <p:nvPr/>
            </p:nvGrpSpPr>
            <p:grpSpPr>
              <a:xfrm>
                <a:off x="0" y="75527"/>
                <a:ext cx="30275213" cy="42800596"/>
                <a:chOff x="0" y="75527"/>
                <a:chExt cx="30275213" cy="42800596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29C9437-E4EB-2978-C64D-2A6ECB46D003}"/>
                    </a:ext>
                  </a:extLst>
                </p:cNvPr>
                <p:cNvSpPr txBox="1"/>
                <p:nvPr/>
              </p:nvSpPr>
              <p:spPr>
                <a:xfrm>
                  <a:off x="7030470" y="7995639"/>
                  <a:ext cx="16214270" cy="144655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8800" b="1" dirty="0"/>
                    <a:t>Title</a:t>
                  </a:r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49D25A23-E197-DCDE-3C77-2BAFAFCCBCD6}"/>
                    </a:ext>
                  </a:extLst>
                </p:cNvPr>
                <p:cNvGrpSpPr/>
                <p:nvPr/>
              </p:nvGrpSpPr>
              <p:grpSpPr>
                <a:xfrm>
                  <a:off x="0" y="286503"/>
                  <a:ext cx="30275213" cy="7063823"/>
                  <a:chOff x="-1" y="324294"/>
                  <a:chExt cx="30275213" cy="7572875"/>
                </a:xfrm>
              </p:grpSpPr>
              <p:pic>
                <p:nvPicPr>
                  <p:cNvPr id="17" name="Picture 16">
                    <a:extLst>
                      <a:ext uri="{FF2B5EF4-FFF2-40B4-BE49-F238E27FC236}">
                        <a16:creationId xmlns:a16="http://schemas.microsoft.com/office/drawing/2014/main" id="{8EF91C89-45EF-914E-2117-C254EF3AA6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sharpenSoften amount="2500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1279" y="951337"/>
                    <a:ext cx="10008226" cy="1760733"/>
                  </a:xfrm>
                  <a:prstGeom prst="rect">
                    <a:avLst/>
                  </a:prstGeom>
                </p:spPr>
              </p:pic>
              <p:pic>
                <p:nvPicPr>
                  <p:cNvPr id="18" name="Picture 17">
                    <a:extLst>
                      <a:ext uri="{FF2B5EF4-FFF2-40B4-BE49-F238E27FC236}">
                        <a16:creationId xmlns:a16="http://schemas.microsoft.com/office/drawing/2014/main" id="{5C223BED-83A9-00E1-1E95-AC19D78DD7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20000"/>
                            </a14:imgEffect>
                          </a14:imgLayer>
                        </a14:imgProps>
                      </a:ext>
                    </a:extLst>
                  </a:blip>
                  <a:srcRect t="22202"/>
                  <a:stretch>
                    <a:fillRect/>
                  </a:stretch>
                </p:blipFill>
                <p:spPr>
                  <a:xfrm>
                    <a:off x="-1" y="3525932"/>
                    <a:ext cx="30275213" cy="4371237"/>
                  </a:xfrm>
                  <a:prstGeom prst="rect">
                    <a:avLst/>
                  </a:prstGeom>
                </p:spPr>
              </p:pic>
              <p:pic>
                <p:nvPicPr>
                  <p:cNvPr id="15" name="Picture 14">
                    <a:extLst>
                      <a:ext uri="{FF2B5EF4-FFF2-40B4-BE49-F238E27FC236}">
                        <a16:creationId xmlns:a16="http://schemas.microsoft.com/office/drawing/2014/main" id="{A08484D1-4663-2629-BA6D-16B912864C2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sharpenSoften amount="50000"/>
                            </a14:imgEffect>
                          </a14:imgLayer>
                        </a14:imgProps>
                      </a:ext>
                    </a:extLst>
                  </a:blip>
                  <a:srcRect t="11771"/>
                  <a:stretch>
                    <a:fillRect/>
                  </a:stretch>
                </p:blipFill>
                <p:spPr>
                  <a:xfrm>
                    <a:off x="11048348" y="324294"/>
                    <a:ext cx="10725157" cy="320163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A7759E16-E4D5-B95B-8C88-AB149556D9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sharpenSoften amount="25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02349" y="75527"/>
                  <a:ext cx="7246432" cy="3201638"/>
                </a:xfrm>
                <a:prstGeom prst="rect">
                  <a:avLst/>
                </a:prstGeom>
              </p:spPr>
            </p:pic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23138811-1D9D-4A0A-743C-F24E548F8FD3}"/>
                    </a:ext>
                  </a:extLst>
                </p:cNvPr>
                <p:cNvGrpSpPr/>
                <p:nvPr/>
              </p:nvGrpSpPr>
              <p:grpSpPr>
                <a:xfrm>
                  <a:off x="0" y="9956532"/>
                  <a:ext cx="30275213" cy="32919591"/>
                  <a:chOff x="0" y="9956532"/>
                  <a:chExt cx="30275213" cy="32919591"/>
                </a:xfrm>
              </p:grpSpPr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A3362805-F1EE-91CA-9F09-1517BDFCDBFB}"/>
                      </a:ext>
                    </a:extLst>
                  </p:cNvPr>
                  <p:cNvSpPr txBox="1"/>
                  <p:nvPr/>
                </p:nvSpPr>
                <p:spPr>
                  <a:xfrm>
                    <a:off x="910598" y="20768079"/>
                    <a:ext cx="6799743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2. INTRODUCTION (Arial 40-44)</a:t>
                    </a:r>
                  </a:p>
                </p:txBody>
              </p:sp>
              <p:sp>
                <p:nvSpPr>
                  <p:cNvPr id="23" name="TextBox 22">
                    <a:extLst>
                      <a:ext uri="{FF2B5EF4-FFF2-40B4-BE49-F238E27FC236}">
                        <a16:creationId xmlns:a16="http://schemas.microsoft.com/office/drawing/2014/main" id="{D2EEE0CA-C6FA-22A8-5128-10158E9FDA75}"/>
                      </a:ext>
                    </a:extLst>
                  </p:cNvPr>
                  <p:cNvSpPr txBox="1"/>
                  <p:nvPr/>
                </p:nvSpPr>
                <p:spPr>
                  <a:xfrm>
                    <a:off x="1060192" y="28926018"/>
                    <a:ext cx="7335662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3. METHODOLOGY (Arial 40-44)</a:t>
                    </a:r>
                  </a:p>
                </p:txBody>
              </p:sp>
              <p:sp>
                <p:nvSpPr>
                  <p:cNvPr id="50" name="TextBox 49">
                    <a:extLst>
                      <a:ext uri="{FF2B5EF4-FFF2-40B4-BE49-F238E27FC236}">
                        <a16:creationId xmlns:a16="http://schemas.microsoft.com/office/drawing/2014/main" id="{3E099AA4-3D42-C450-A566-54743DACB456}"/>
                      </a:ext>
                    </a:extLst>
                  </p:cNvPr>
                  <p:cNvSpPr txBox="1"/>
                  <p:nvPr/>
                </p:nvSpPr>
                <p:spPr>
                  <a:xfrm>
                    <a:off x="15435416" y="34293747"/>
                    <a:ext cx="3739742" cy="132343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 7. REFERENCES Arial 32  </a:t>
                    </a:r>
                  </a:p>
                </p:txBody>
              </p:sp>
              <p:sp>
                <p:nvSpPr>
                  <p:cNvPr id="62" name="Rectangle 61">
                    <a:extLst>
                      <a:ext uri="{FF2B5EF4-FFF2-40B4-BE49-F238E27FC236}">
                        <a16:creationId xmlns:a16="http://schemas.microsoft.com/office/drawing/2014/main" id="{C133A978-1046-6DDC-3627-D1E3222FFA32}"/>
                      </a:ext>
                    </a:extLst>
                  </p:cNvPr>
                  <p:cNvSpPr/>
                  <p:nvPr/>
                </p:nvSpPr>
                <p:spPr>
                  <a:xfrm>
                    <a:off x="15721199" y="13662418"/>
                    <a:ext cx="5725637" cy="70194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sz="4000" b="1" dirty="0"/>
                      <a:t>4. RESULTS (Arial 40-44)</a:t>
                    </a:r>
                    <a:endParaRPr lang="en-US" sz="4000" dirty="0"/>
                  </a:p>
                </p:txBody>
              </p:sp>
              <p:sp>
                <p:nvSpPr>
                  <p:cNvPr id="70" name="Rectangle 69">
                    <a:extLst>
                      <a:ext uri="{FF2B5EF4-FFF2-40B4-BE49-F238E27FC236}">
                        <a16:creationId xmlns:a16="http://schemas.microsoft.com/office/drawing/2014/main" id="{F6F117F4-95F9-5B3A-0B14-4B219CF1C6A1}"/>
                      </a:ext>
                    </a:extLst>
                  </p:cNvPr>
                  <p:cNvSpPr/>
                  <p:nvPr/>
                </p:nvSpPr>
                <p:spPr>
                  <a:xfrm>
                    <a:off x="15894090" y="20638139"/>
                    <a:ext cx="8088128" cy="72173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4000" b="1" dirty="0"/>
                      <a:t>5. Discussion (Arial 40-44)</a:t>
                    </a:r>
                  </a:p>
                </p:txBody>
              </p:sp>
              <p:sp>
                <p:nvSpPr>
                  <p:cNvPr id="90" name="TextBox 89">
                    <a:extLst>
                      <a:ext uri="{FF2B5EF4-FFF2-40B4-BE49-F238E27FC236}">
                        <a16:creationId xmlns:a16="http://schemas.microsoft.com/office/drawing/2014/main" id="{0B92C64D-AA5B-D1BE-32E6-A616F2121F13}"/>
                      </a:ext>
                    </a:extLst>
                  </p:cNvPr>
                  <p:cNvSpPr txBox="1"/>
                  <p:nvPr/>
                </p:nvSpPr>
                <p:spPr>
                  <a:xfrm>
                    <a:off x="1590080" y="22242468"/>
                    <a:ext cx="295274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dirty="0"/>
                      <a:t>a</a:t>
                    </a:r>
                  </a:p>
                </p:txBody>
              </p:sp>
              <p:sp>
                <p:nvSpPr>
                  <p:cNvPr id="60" name="TextBox 59">
                    <a:extLst>
                      <a:ext uri="{FF2B5EF4-FFF2-40B4-BE49-F238E27FC236}">
                        <a16:creationId xmlns:a16="http://schemas.microsoft.com/office/drawing/2014/main" id="{A5BB704D-CF07-EEDB-563C-6E064C45ACFF}"/>
                      </a:ext>
                    </a:extLst>
                  </p:cNvPr>
                  <p:cNvSpPr txBox="1"/>
                  <p:nvPr/>
                </p:nvSpPr>
                <p:spPr>
                  <a:xfrm>
                    <a:off x="8702260" y="22344095"/>
                    <a:ext cx="295274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dirty="0"/>
                      <a:t>b</a:t>
                    </a:r>
                  </a:p>
                </p:txBody>
              </p:sp>
              <p:pic>
                <p:nvPicPr>
                  <p:cNvPr id="5" name="Picture 4">
                    <a:extLst>
                      <a:ext uri="{FF2B5EF4-FFF2-40B4-BE49-F238E27FC236}">
                        <a16:creationId xmlns:a16="http://schemas.microsoft.com/office/drawing/2014/main" id="{5781A66E-B4A0-0549-0FFB-322FC67531C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20000"/>
                            </a14:imgEffect>
                          </a14:imgLayer>
                        </a14:imgProps>
                      </a:ext>
                    </a:extLst>
                  </a:blip>
                  <a:srcRect t="31672"/>
                  <a:stretch>
                    <a:fillRect/>
                  </a:stretch>
                </p:blipFill>
                <p:spPr>
                  <a:xfrm>
                    <a:off x="0" y="40322069"/>
                    <a:ext cx="30275213" cy="2554054"/>
                  </a:xfrm>
                  <a:prstGeom prst="rect">
                    <a:avLst/>
                  </a:prstGeom>
                </p:spPr>
              </p:pic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75812808-1D2D-A786-789F-B1D3E1C44F6A}"/>
                      </a:ext>
                    </a:extLst>
                  </p:cNvPr>
                  <p:cNvSpPr txBox="1"/>
                  <p:nvPr/>
                </p:nvSpPr>
                <p:spPr>
                  <a:xfrm>
                    <a:off x="5349153" y="9956532"/>
                    <a:ext cx="20755934" cy="92333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5400" dirty="0">
                        <a:latin typeface="+mn-lt"/>
                      </a:rPr>
                      <a:t>First Author</a:t>
                    </a:r>
                    <a:r>
                      <a:rPr lang="en-US" sz="5400" baseline="30000" dirty="0"/>
                      <a:t>1</a:t>
                    </a:r>
                    <a:r>
                      <a:rPr lang="en-US" sz="5400" dirty="0">
                        <a:latin typeface="+mn-lt"/>
                      </a:rPr>
                      <a:t> *, Second Co-Author</a:t>
                    </a:r>
                    <a:r>
                      <a:rPr lang="en-US" sz="5400" baseline="30000" dirty="0">
                        <a:latin typeface="+mn-lt"/>
                      </a:rPr>
                      <a:t>2</a:t>
                    </a:r>
                    <a:r>
                      <a:rPr lang="en-US" sz="5400" dirty="0">
                        <a:latin typeface="+mn-lt"/>
                      </a:rPr>
                      <a:t>, Third Co-Author</a:t>
                    </a:r>
                    <a:r>
                      <a:rPr lang="en-US" sz="5400" baseline="30000" dirty="0">
                        <a:latin typeface="+mn-lt"/>
                      </a:rPr>
                      <a:t>3</a:t>
                    </a:r>
                    <a:r>
                      <a:rPr lang="en-US" sz="5400" dirty="0">
                        <a:latin typeface="+mn-lt"/>
                      </a:rPr>
                      <a:t>, Fourth Co-Author</a:t>
                    </a:r>
                    <a:r>
                      <a:rPr lang="en-US" sz="5400" baseline="30000" dirty="0">
                        <a:latin typeface="+mn-lt"/>
                      </a:rPr>
                      <a:t>4</a:t>
                    </a:r>
                  </a:p>
                </p:txBody>
              </p:sp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F356186A-C9BE-6394-1C37-BCA65EB06138}"/>
                      </a:ext>
                    </a:extLst>
                  </p:cNvPr>
                  <p:cNvSpPr txBox="1"/>
                  <p:nvPr/>
                </p:nvSpPr>
                <p:spPr>
                  <a:xfrm>
                    <a:off x="345297" y="13515612"/>
                    <a:ext cx="8050557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1. ABSTRACT (Arial 40-44)</a:t>
                    </a:r>
                  </a:p>
                </p:txBody>
              </p: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78727E36-D3BB-97FC-B9EF-170287AAAC0E}"/>
                      </a:ext>
                    </a:extLst>
                  </p:cNvPr>
                  <p:cNvSpPr/>
                  <p:nvPr/>
                </p:nvSpPr>
                <p:spPr>
                  <a:xfrm>
                    <a:off x="731520" y="13305489"/>
                    <a:ext cx="13898880" cy="6348137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19650EBF-9172-9D76-8DE8-B60BED708325}"/>
                      </a:ext>
                    </a:extLst>
                  </p:cNvPr>
                  <p:cNvSpPr/>
                  <p:nvPr/>
                </p:nvSpPr>
                <p:spPr>
                  <a:xfrm>
                    <a:off x="15435416" y="13373081"/>
                    <a:ext cx="13898880" cy="6348137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34A51D24-82F6-372A-4906-CC86988CB388}"/>
                      </a:ext>
                    </a:extLst>
                  </p:cNvPr>
                  <p:cNvSpPr/>
                  <p:nvPr/>
                </p:nvSpPr>
                <p:spPr>
                  <a:xfrm>
                    <a:off x="818147" y="20403884"/>
                    <a:ext cx="13898880" cy="7076241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2094C443-2ADE-76FD-0548-D5CB51F39550}"/>
                      </a:ext>
                    </a:extLst>
                  </p:cNvPr>
                  <p:cNvSpPr/>
                  <p:nvPr/>
                </p:nvSpPr>
                <p:spPr>
                  <a:xfrm>
                    <a:off x="940917" y="28436352"/>
                    <a:ext cx="13898880" cy="10929489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" name="TextBox 27">
                    <a:extLst>
                      <a:ext uri="{FF2B5EF4-FFF2-40B4-BE49-F238E27FC236}">
                        <a16:creationId xmlns:a16="http://schemas.microsoft.com/office/drawing/2014/main" id="{AB5A1665-67D4-89E4-5D57-379E77D711B5}"/>
                      </a:ext>
                    </a:extLst>
                  </p:cNvPr>
                  <p:cNvSpPr txBox="1"/>
                  <p:nvPr/>
                </p:nvSpPr>
                <p:spPr>
                  <a:xfrm>
                    <a:off x="7680960" y="10837704"/>
                    <a:ext cx="15333784" cy="144655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4400" i="1" baseline="30000" dirty="0"/>
                      <a:t>1</a:t>
                    </a:r>
                    <a:r>
                      <a:rPr lang="en-US" sz="4400" i="1" dirty="0"/>
                      <a:t>Affiliation – Full address -  P.O.Box….., Email …</a:t>
                    </a:r>
                  </a:p>
                  <a:p>
                    <a:pPr algn="ctr"/>
                    <a:r>
                      <a:rPr lang="en-US" sz="4400" i="1" baseline="30000" dirty="0"/>
                      <a:t>                  2  </a:t>
                    </a:r>
                    <a:r>
                      <a:rPr lang="en-US" sz="4400" i="1" dirty="0"/>
                      <a:t>Affiliation – Full address -  P.O.Box….., Email …</a:t>
                    </a:r>
                  </a:p>
                </p:txBody>
              </p:sp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C737660C-C0C1-6648-2564-9E09D8FEF5D7}"/>
                      </a:ext>
                    </a:extLst>
                  </p:cNvPr>
                  <p:cNvSpPr/>
                  <p:nvPr/>
                </p:nvSpPr>
                <p:spPr>
                  <a:xfrm>
                    <a:off x="15425790" y="20403884"/>
                    <a:ext cx="13898880" cy="6995513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0889D37-6F2B-4981-7E7F-D9C65D05C069}"/>
                  </a:ext>
                </a:extLst>
              </p:cNvPr>
              <p:cNvSpPr/>
              <p:nvPr/>
            </p:nvSpPr>
            <p:spPr>
              <a:xfrm>
                <a:off x="0" y="0"/>
                <a:ext cx="30275213" cy="42767250"/>
              </a:xfrm>
              <a:prstGeom prst="rect">
                <a:avLst/>
              </a:prstGeom>
              <a:noFill/>
              <a:ln w="7620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E652AB-9913-5E6B-2920-987BB907B256}"/>
                </a:ext>
              </a:extLst>
            </p:cNvPr>
            <p:cNvSpPr/>
            <p:nvPr/>
          </p:nvSpPr>
          <p:spPr>
            <a:xfrm>
              <a:off x="15505754" y="28381915"/>
              <a:ext cx="13898880" cy="10929489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2E4649E2-B184-B942-2E5C-A8240DD6D38B}"/>
              </a:ext>
            </a:extLst>
          </p:cNvPr>
          <p:cNvSpPr/>
          <p:nvPr/>
        </p:nvSpPr>
        <p:spPr>
          <a:xfrm>
            <a:off x="15721198" y="28669234"/>
            <a:ext cx="10776523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000" b="1" dirty="0"/>
              <a:t>6. Conclusion &amp; Recommendation (Arial 40-44)</a:t>
            </a:r>
          </a:p>
        </p:txBody>
      </p:sp>
    </p:spTree>
    <p:extLst>
      <p:ext uri="{BB962C8B-B14F-4D97-AF65-F5344CB8AC3E}">
        <p14:creationId xmlns:p14="http://schemas.microsoft.com/office/powerpoint/2010/main" val="159026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search Collaboration_English</Template>
  <TotalTime>2351</TotalTime>
  <Words>92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rial</vt:lpstr>
      <vt:lpstr>Calibri</vt:lpstr>
      <vt:lpstr>Calibri Light</vt:lpstr>
      <vt:lpstr>1_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ifudeen Kabeer</dc:creator>
  <cp:lastModifiedBy>Amir Gabr</cp:lastModifiedBy>
  <cp:revision>243</cp:revision>
  <dcterms:created xsi:type="dcterms:W3CDTF">2022-02-15T09:33:28Z</dcterms:created>
  <dcterms:modified xsi:type="dcterms:W3CDTF">2026-02-03T03:53:10Z</dcterms:modified>
</cp:coreProperties>
</file>